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6858000" cy="9906000" type="A4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579B"/>
    <a:srgbClr val="4D4D4D"/>
    <a:srgbClr val="EDF2F9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napToObjects="1">
      <p:cViewPr>
        <p:scale>
          <a:sx n="75" d="100"/>
          <a:sy n="75" d="100"/>
        </p:scale>
        <p:origin x="-3348" y="-72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485204930233598E-2"/>
          <c:y val="0.12516774594163044"/>
          <c:w val="0.96451479506976645"/>
          <c:h val="0.74969608799787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Österreich</c:v>
                </c:pt>
              </c:strCache>
            </c:strRef>
          </c:tx>
          <c:spPr>
            <a:solidFill>
              <a:srgbClr val="24579B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cat>
            <c:strRef>
              <c:f>Tabelle1!$A$2:$A$4</c:f>
              <c:strCache>
                <c:ptCount val="3"/>
                <c:pt idx="0">
                  <c:v>2023</c:v>
                </c:pt>
                <c:pt idx="1">
                  <c:v>2024e</c:v>
                </c:pt>
                <c:pt idx="2">
                  <c:v>2025f</c:v>
                </c:pt>
              </c:strCache>
            </c:strRef>
          </c:cat>
          <c:val>
            <c:numRef>
              <c:f>Tabelle1!$B$2:$B$4</c:f>
              <c:numCache>
                <c:formatCode>0</c:formatCode>
                <c:ptCount val="3"/>
                <c:pt idx="0">
                  <c:v>6646.6881153321965</c:v>
                </c:pt>
                <c:pt idx="1">
                  <c:v>6992.7250078205234</c:v>
                </c:pt>
                <c:pt idx="2">
                  <c:v>7375.3466822277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6743808"/>
        <c:axId val="206749696"/>
      </c:barChart>
      <c:catAx>
        <c:axId val="206743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txPr>
          <a:bodyPr rot="0"/>
          <a:lstStyle/>
          <a:p>
            <a:pPr>
              <a:defRPr sz="1600">
                <a:solidFill>
                  <a:srgbClr val="24579B"/>
                </a:solidFill>
              </a:defRPr>
            </a:pPr>
            <a:endParaRPr lang="de-DE"/>
          </a:p>
        </c:txPr>
        <c:crossAx val="206749696"/>
        <c:crosses val="autoZero"/>
        <c:auto val="1"/>
        <c:lblAlgn val="ctr"/>
        <c:lblOffset val="100"/>
        <c:tickMarkSkip val="1"/>
        <c:noMultiLvlLbl val="0"/>
      </c:catAx>
      <c:valAx>
        <c:axId val="206749696"/>
        <c:scaling>
          <c:orientation val="minMax"/>
          <c:min val="0"/>
        </c:scaling>
        <c:delete val="0"/>
        <c:axPos val="l"/>
        <c:numFmt formatCode="0" sourceLinked="1"/>
        <c:majorTickMark val="none"/>
        <c:minorTickMark val="none"/>
        <c:tickLblPos val="none"/>
        <c:spPr>
          <a:ln>
            <a:noFill/>
          </a:ln>
        </c:spPr>
        <c:crossAx val="206743808"/>
        <c:crosses val="autoZero"/>
        <c:crossBetween val="between"/>
        <c:dispUnits>
          <c:builtInUnit val="thousands"/>
        </c:dispUnits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03054275698901"/>
          <c:y val="6.4099940171963951E-2"/>
          <c:w val="0.51801063868769448"/>
          <c:h val="0.6977662418341646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utsourcinggra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effectLst/>
          </c:spPr>
          <c:dPt>
            <c:idx val="0"/>
            <c:bubble3D val="0"/>
            <c:spPr>
              <a:solidFill>
                <a:srgbClr val="24579B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2.9641378991637629E-3"/>
                  <c:y val="1.080047386016022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9,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0,2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8533792689128918E-2"/>
                  <c:y val="-5.9890913652393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Externe</c:v>
                </c:pt>
                <c:pt idx="1">
                  <c:v>Intern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59799999999999998</c:v>
                </c:pt>
                <c:pt idx="1">
                  <c:v>0.402000000000000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68302372874077E-2"/>
          <c:y val="0.90055541649433624"/>
          <c:w val="0.94931697627125922"/>
          <c:h val="7.0643319878569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947</cdr:x>
      <cdr:y>0.88967</cdr:y>
    </cdr:from>
    <cdr:to>
      <cdr:x>0.8916</cdr:x>
      <cdr:y>1</cdr:y>
    </cdr:to>
    <cdr:grpSp>
      <cdr:nvGrpSpPr>
        <cdr:cNvPr id="2" name="Gruppieren 1"/>
        <cdr:cNvGrpSpPr/>
      </cdr:nvGrpSpPr>
      <cdr:grpSpPr>
        <a:xfrm xmlns:a="http://schemas.openxmlformats.org/drawingml/2006/main">
          <a:off x="3186764" y="2507312"/>
          <a:ext cx="323333" cy="310938"/>
          <a:chOff x="2311079" y="3710233"/>
          <a:chExt cx="193592" cy="179040"/>
        </a:xfrm>
      </cdr:grpSpPr>
      <cdr:sp macro="" textlink="">
        <cdr:nvSpPr>
          <cdr:cNvPr id="3" name="Oval 21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3898508">
            <a:off x="2318355" y="3702957"/>
            <a:ext cx="179040" cy="193592"/>
          </a:xfrm>
          <a:prstGeom xmlns:a="http://schemas.openxmlformats.org/drawingml/2006/main" prst="ellipse">
            <a:avLst/>
          </a:prstGeom>
          <a:noFill xmlns:a="http://schemas.openxmlformats.org/drawingml/2006/main"/>
          <a:ln xmlns:a="http://schemas.openxmlformats.org/drawingml/2006/main" w="38100">
            <a:solidFill>
              <a:schemeClr val="bg1"/>
            </a:solidFill>
            <a:round/>
            <a:headEnd/>
            <a:tailEnd/>
          </a:ln>
          <a:extLst xmlns:a="http://schemas.openxmlformats.org/drawingml/2006/main"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cdr:spPr>
        <cdr:txBody>
          <a:bodyPr xmlns:a="http://schemas.openxmlformats.org/drawingml/2006/main" vert="eaVert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  <cdr:sp macro="" textlink="">
        <cdr:nvSpPr>
          <cdr:cNvPr id="4" name="AutoShape 20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9616350">
            <a:off x="2332434" y="3747930"/>
            <a:ext cx="150885" cy="103646"/>
          </a:xfrm>
          <a:prstGeom xmlns:a="http://schemas.openxmlformats.org/drawingml/2006/main" prst="rightArrow">
            <a:avLst>
              <a:gd name="adj1" fmla="val 35144"/>
              <a:gd name="adj2" fmla="val 69287"/>
            </a:avLst>
          </a:prstGeom>
          <a:solidFill xmlns:a="http://schemas.openxmlformats.org/drawingml/2006/main">
            <a:schemeClr val="bg1"/>
          </a:solidFill>
          <a:ln xmlns:a="http://schemas.openxmlformats.org/drawingml/2006/main" w="38100">
            <a:solidFill>
              <a:schemeClr val="bg1"/>
            </a:solidFill>
            <a:miter lim="800000"/>
            <a:headEnd/>
            <a:tailEnd/>
          </a:ln>
          <a:extLst xmlns:a="http://schemas.openxmlformats.org/drawingml/2006/main"/>
        </cdr:spPr>
        <cdr:txBody>
          <a:bodyPr xmlns:a="http://schemas.openxmlformats.org/drawingml/2006/main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2EC32-38D7-439A-921F-AEE532A43B39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4BE7E-F70C-4284-A4C7-2F0F8B7D19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3562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92DF50-9311-489D-9F6B-A883CBAC4D6D}" type="datetimeFigureOut">
              <a:rPr lang="de-DE" smtClean="0"/>
              <a:t>21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8A6CB-BFD6-4304-8BC8-282D20A0C04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898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92872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9289305"/>
            <a:ext cx="6858000" cy="616695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noFill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7083" y="199078"/>
            <a:ext cx="5635950" cy="7510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 smtClean="0"/>
              <a:t>Titel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7083" y="1352550"/>
            <a:ext cx="6483836" cy="7496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0" y="970805"/>
            <a:ext cx="6858000" cy="0"/>
          </a:xfrm>
          <a:prstGeom prst="line">
            <a:avLst/>
          </a:prstGeom>
          <a:ln w="38100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188639" y="9315430"/>
            <a:ext cx="6482279" cy="59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Quelle: IC Market-Tracking© Facility</a:t>
            </a:r>
            <a:r>
              <a:rPr lang="de-AT" sz="1200" baseline="0" dirty="0" smtClean="0">
                <a:solidFill>
                  <a:schemeClr val="bg1"/>
                </a:solidFill>
              </a:rPr>
              <a:t> Services in Österreich 2024</a:t>
            </a:r>
            <a:endParaRPr lang="de-AT" sz="1200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Interconnection Consulting</a:t>
            </a:r>
            <a:r>
              <a:rPr lang="de-AT" sz="1200" baseline="0" dirty="0" smtClean="0">
                <a:solidFill>
                  <a:schemeClr val="bg1"/>
                </a:solidFill>
              </a:rPr>
              <a:t> – Beratung mit Herz und Kompetenz  I  www.interconnectionconsulting.com</a:t>
            </a:r>
            <a:endParaRPr lang="de-AT" sz="1200" dirty="0">
              <a:solidFill>
                <a:schemeClr val="bg1"/>
              </a:solidFill>
            </a:endParaRPr>
          </a:p>
        </p:txBody>
      </p:sp>
      <p:pic>
        <p:nvPicPr>
          <p:cNvPr id="10" name="Picture 6" descr="Logo IC 2007 [120dpi]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1741" y="251629"/>
            <a:ext cx="1340112" cy="69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15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24579B"/>
          </a:solidFill>
          <a:latin typeface="Futura" panose="020B0602020204020303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-16699" y="4539706"/>
            <a:ext cx="6874699" cy="4591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Ellipse 3"/>
          <p:cNvSpPr/>
          <p:nvPr/>
        </p:nvSpPr>
        <p:spPr>
          <a:xfrm>
            <a:off x="1942902" y="5575021"/>
            <a:ext cx="2794198" cy="278369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Rechteck 2"/>
          <p:cNvSpPr/>
          <p:nvPr/>
        </p:nvSpPr>
        <p:spPr>
          <a:xfrm>
            <a:off x="27044" y="1108715"/>
            <a:ext cx="6858000" cy="3390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1875" y="97478"/>
            <a:ext cx="5469240" cy="751024"/>
          </a:xfrm>
        </p:spPr>
        <p:txBody>
          <a:bodyPr>
            <a:noAutofit/>
          </a:bodyPr>
          <a:lstStyle/>
          <a:p>
            <a:r>
              <a:rPr lang="de-DE" sz="2000" dirty="0" smtClean="0"/>
              <a:t>Outsourcing lässt externe Facility Services steigen</a:t>
            </a:r>
            <a:endParaRPr lang="de-DE" sz="2200" dirty="0"/>
          </a:p>
        </p:txBody>
      </p:sp>
      <p:sp>
        <p:nvSpPr>
          <p:cNvPr id="310" name="Text Box 8"/>
          <p:cNvSpPr txBox="1">
            <a:spLocks noChangeArrowheads="1"/>
          </p:cNvSpPr>
          <p:nvPr/>
        </p:nvSpPr>
        <p:spPr bwMode="auto">
          <a:xfrm>
            <a:off x="194201" y="4590507"/>
            <a:ext cx="589709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Outsourcing von Facility Services </a:t>
            </a:r>
            <a:r>
              <a:rPr lang="de-AT" dirty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– Marktanteile 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2024e </a:t>
            </a:r>
            <a:r>
              <a:rPr lang="de-AT" sz="1100" i="1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(Umsatz </a:t>
            </a:r>
            <a:r>
              <a:rPr lang="de-AT" sz="1100" i="1" dirty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in %)</a:t>
            </a:r>
          </a:p>
        </p:txBody>
      </p:sp>
      <p:cxnSp>
        <p:nvCxnSpPr>
          <p:cNvPr id="311" name="Gerade Verbindung 310"/>
          <p:cNvCxnSpPr/>
          <p:nvPr/>
        </p:nvCxnSpPr>
        <p:spPr>
          <a:xfrm>
            <a:off x="-16699" y="4910841"/>
            <a:ext cx="5315390" cy="0"/>
          </a:xfrm>
          <a:prstGeom prst="line">
            <a:avLst/>
          </a:prstGeom>
          <a:ln w="28575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3" name="Gruppieren 342"/>
          <p:cNvGrpSpPr/>
          <p:nvPr/>
        </p:nvGrpSpPr>
        <p:grpSpPr>
          <a:xfrm>
            <a:off x="158283" y="1627745"/>
            <a:ext cx="2119993" cy="2486937"/>
            <a:chOff x="91081" y="2097899"/>
            <a:chExt cx="1232169" cy="13602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4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56782" y="3170372"/>
              <a:ext cx="77784" cy="54060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5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98153" y="3032608"/>
              <a:ext cx="91926" cy="176129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6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88312" y="2467597"/>
              <a:ext cx="190924" cy="296456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7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87838" y="2800674"/>
              <a:ext cx="189156" cy="83705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8" name="Freeform 1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92905" y="2131032"/>
              <a:ext cx="245726" cy="299944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9" name="Freeform 1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99447" y="2589667"/>
              <a:ext cx="203298" cy="261579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0" name="Freeform 1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27732" y="2872172"/>
              <a:ext cx="279315" cy="30168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1" name="Freeform 1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47178" y="3057022"/>
              <a:ext cx="37125" cy="90681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2" name="Freeform 2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6992" y="2973316"/>
              <a:ext cx="312903" cy="272042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3" name="Freeform 3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62851" y="2783235"/>
              <a:ext cx="139658" cy="62779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4" name="Freeform 22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49948" y="2097899"/>
              <a:ext cx="500291" cy="39760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5" name="Freeform 228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28261" y="3022144"/>
              <a:ext cx="54802" cy="99399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6" name="Freeform 22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02983" y="2872172"/>
              <a:ext cx="81319" cy="25006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7" name="Freeform 23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34038" y="2647214"/>
              <a:ext cx="93695" cy="80218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8" name="Freeform 231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2824" y="2716968"/>
              <a:ext cx="93695" cy="62779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9" name="Freeform 23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91081" y="2563509"/>
              <a:ext cx="107837" cy="158692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0" name="Freeform 23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54249" y="3198274"/>
              <a:ext cx="104302" cy="259836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1" name="Freeform 242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13352" y="2519913"/>
              <a:ext cx="15911" cy="62779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2" name="Freeform 243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87838" y="2150215"/>
              <a:ext cx="261637" cy="434221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3" name="Freeform 24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41637" y="2495499"/>
              <a:ext cx="30053" cy="62779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4" name="Freeform 245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2902" y="2673372"/>
              <a:ext cx="31821" cy="62779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5" name="Freeform 34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77996" y="2596643"/>
              <a:ext cx="245727" cy="195312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6" name="Freeform 34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748709" y="2821600"/>
              <a:ext cx="162639" cy="78474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7" name="Freeform 34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60082" y="2443183"/>
              <a:ext cx="123747" cy="71498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8" name="Freeform 34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74224" y="2825088"/>
              <a:ext cx="199763" cy="156947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9" name="Freeform 34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990900" y="2816369"/>
              <a:ext cx="95462" cy="87193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0" name="Freeform 348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898974" y="2687323"/>
              <a:ext cx="424276" cy="272042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1" name="Freeform 35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808814" y="2894842"/>
              <a:ext cx="120211" cy="163923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2" name="Freeform 35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861849" y="3013425"/>
              <a:ext cx="76017" cy="66267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3" name="Freeform 43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68629" y="3013425"/>
              <a:ext cx="17678" cy="62779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4" name="Freeform 44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98974" y="2558278"/>
              <a:ext cx="233352" cy="165666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5" name="Freeform 44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39870" y="2922744"/>
              <a:ext cx="91926" cy="959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6" name="Freeform 44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916652" y="2961109"/>
              <a:ext cx="148497" cy="106376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7" name="Freeform 45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86836" y="2882636"/>
              <a:ext cx="141425" cy="125558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8" name="Freeform 45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32033" y="2727432"/>
              <a:ext cx="187388" cy="85450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9" name="Freeform 45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91374" y="2568741"/>
              <a:ext cx="33588" cy="66267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0" name="Freeform 45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59553" y="2573972"/>
              <a:ext cx="28285" cy="64523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1" name="Freeform 45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25964" y="2514681"/>
              <a:ext cx="58338" cy="85450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2" name="Freeform 45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556017" y="2997730"/>
              <a:ext cx="19445" cy="62779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3" name="Freeform 45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24330" y="2729531"/>
              <a:ext cx="328814" cy="299944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4" name="Freeform 46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856546" y="3048302"/>
              <a:ext cx="164406" cy="190081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5" name="Freeform 46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950240" y="3259309"/>
              <a:ext cx="77784" cy="62779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6" name="Freeform 469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19421" y="2500730"/>
              <a:ext cx="180317" cy="73242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7" name="Freeform 47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817654" y="2553046"/>
              <a:ext cx="146728" cy="92425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8" name="Freeform 47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90608" y="2757078"/>
              <a:ext cx="21214" cy="66267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9" name="Freeform 47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00978" y="3257565"/>
              <a:ext cx="15910" cy="62779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0" name="Freeform 51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801743" y="2584435"/>
              <a:ext cx="53034" cy="64523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1" name="Freeform 52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93907" y="2872172"/>
              <a:ext cx="63641" cy="62779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2" name="Freeform 52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3985" y="3105850"/>
              <a:ext cx="17678" cy="62779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</p:grpSp>
      <p:cxnSp>
        <p:nvCxnSpPr>
          <p:cNvPr id="408" name="Gerade Verbindung 407"/>
          <p:cNvCxnSpPr/>
          <p:nvPr/>
        </p:nvCxnSpPr>
        <p:spPr>
          <a:xfrm>
            <a:off x="2993845" y="1548516"/>
            <a:ext cx="3864155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Text Box 8"/>
          <p:cNvSpPr txBox="1">
            <a:spLocks noChangeArrowheads="1"/>
          </p:cNvSpPr>
          <p:nvPr/>
        </p:nvSpPr>
        <p:spPr bwMode="auto">
          <a:xfrm>
            <a:off x="2759225" y="1228182"/>
            <a:ext cx="39087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smtClean="0">
                <a:solidFill>
                  <a:srgbClr val="24579B"/>
                </a:solidFill>
                <a:latin typeface="Futura" pitchFamily="34" charset="0"/>
              </a:rPr>
              <a:t>Österreich - Marktentwicklung</a:t>
            </a:r>
            <a:endParaRPr lang="de-AT" sz="1200" i="1" dirty="0" smtClean="0">
              <a:solidFill>
                <a:srgbClr val="24579B"/>
              </a:solidFill>
              <a:latin typeface="Futura" pitchFamily="34" charset="0"/>
            </a:endParaRPr>
          </a:p>
        </p:txBody>
      </p:sp>
      <p:cxnSp>
        <p:nvCxnSpPr>
          <p:cNvPr id="410" name="Gerade Verbindung 409"/>
          <p:cNvCxnSpPr/>
          <p:nvPr/>
        </p:nvCxnSpPr>
        <p:spPr>
          <a:xfrm>
            <a:off x="3177764" y="1548516"/>
            <a:ext cx="3700108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1" name="Inhaltsplatzhalter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8873920"/>
              </p:ext>
            </p:extLst>
          </p:nvPr>
        </p:nvGraphicFramePr>
        <p:xfrm>
          <a:off x="2759224" y="1721456"/>
          <a:ext cx="3936852" cy="281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61" name="Textfeld 160"/>
          <p:cNvSpPr txBox="1"/>
          <p:nvPr/>
        </p:nvSpPr>
        <p:spPr>
          <a:xfrm>
            <a:off x="5657652" y="3251618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5,5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96" name="Gruppieren 95"/>
          <p:cNvGrpSpPr/>
          <p:nvPr/>
        </p:nvGrpSpPr>
        <p:grpSpPr>
          <a:xfrm rot="600000">
            <a:off x="4505572" y="2859163"/>
            <a:ext cx="572400" cy="540000"/>
            <a:chOff x="3135977" y="3394121"/>
            <a:chExt cx="323326" cy="310937"/>
          </a:xfrm>
          <a:scene3d>
            <a:camera prst="orthographicFront">
              <a:rot lat="0" lon="0" rev="0"/>
            </a:camera>
            <a:lightRig rig="threePt" dir="t"/>
          </a:scene3d>
        </p:grpSpPr>
        <p:sp>
          <p:nvSpPr>
            <p:cNvPr id="97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sp3d z="13335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98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sp3d z="133350"/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03" name="Textfeld 102"/>
          <p:cNvSpPr txBox="1"/>
          <p:nvPr/>
        </p:nvSpPr>
        <p:spPr>
          <a:xfrm>
            <a:off x="4408401" y="3444673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5,2%</a:t>
            </a:r>
            <a:endParaRPr lang="de-AT" sz="1200" dirty="0">
              <a:solidFill>
                <a:schemeClr val="bg1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3108936" y="3686081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+7,2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104" name="Gruppieren 103"/>
          <p:cNvGrpSpPr/>
          <p:nvPr/>
        </p:nvGrpSpPr>
        <p:grpSpPr>
          <a:xfrm rot="-540000">
            <a:off x="3264211" y="3045296"/>
            <a:ext cx="540000" cy="540000"/>
            <a:chOff x="3135977" y="3394121"/>
            <a:chExt cx="323326" cy="310937"/>
          </a:xfrm>
        </p:grpSpPr>
        <p:sp>
          <p:nvSpPr>
            <p:cNvPr id="105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06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grpSp>
        <p:nvGrpSpPr>
          <p:cNvPr id="110" name="Gruppieren 109"/>
          <p:cNvGrpSpPr/>
          <p:nvPr/>
        </p:nvGrpSpPr>
        <p:grpSpPr>
          <a:xfrm rot="540000">
            <a:off x="5788323" y="2550838"/>
            <a:ext cx="540000" cy="540000"/>
            <a:chOff x="3135977" y="3394121"/>
            <a:chExt cx="323326" cy="310937"/>
          </a:xfrm>
        </p:grpSpPr>
        <p:sp>
          <p:nvSpPr>
            <p:cNvPr id="111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13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18" name="Textfeld 117"/>
          <p:cNvSpPr txBox="1"/>
          <p:nvPr/>
        </p:nvSpPr>
        <p:spPr>
          <a:xfrm rot="16200000">
            <a:off x="1680353" y="2868600"/>
            <a:ext cx="210661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050" smtClean="0">
                <a:solidFill>
                  <a:prstClr val="white">
                    <a:lumMod val="50000"/>
                  </a:prstClr>
                </a:solidFill>
              </a:rPr>
              <a:t>Wertmäßiges </a:t>
            </a:r>
            <a:r>
              <a:rPr lang="de-AT" sz="1050" dirty="0" smtClean="0">
                <a:solidFill>
                  <a:prstClr val="white">
                    <a:lumMod val="50000"/>
                  </a:prstClr>
                </a:solidFill>
              </a:rPr>
              <a:t>Wachstum</a:t>
            </a:r>
            <a:endParaRPr lang="de-AT" sz="105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1" name="Rectangle 94"/>
          <p:cNvSpPr/>
          <p:nvPr/>
        </p:nvSpPr>
        <p:spPr>
          <a:xfrm flipV="1">
            <a:off x="4326284" y="7315100"/>
            <a:ext cx="2340000" cy="1237129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08"/>
          <p:cNvSpPr/>
          <p:nvPr/>
        </p:nvSpPr>
        <p:spPr>
          <a:xfrm flipH="1" flipV="1">
            <a:off x="314418" y="5162662"/>
            <a:ext cx="2340000" cy="1339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extBox 121"/>
          <p:cNvSpPr txBox="1"/>
          <p:nvPr/>
        </p:nvSpPr>
        <p:spPr>
          <a:xfrm>
            <a:off x="4807026" y="8183946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+5,2%                  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8104" y="5967857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+4,3%</a:t>
            </a:r>
          </a:p>
        </p:txBody>
      </p:sp>
      <p:sp>
        <p:nvSpPr>
          <p:cNvPr id="128" name="TextBox 124"/>
          <p:cNvSpPr txBox="1"/>
          <p:nvPr/>
        </p:nvSpPr>
        <p:spPr>
          <a:xfrm>
            <a:off x="158283" y="5162663"/>
            <a:ext cx="244841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DE" sz="1800" dirty="0" smtClean="0">
                <a:solidFill>
                  <a:schemeClr val="bg1"/>
                </a:solidFill>
              </a:rPr>
              <a:t>Interne</a:t>
            </a:r>
          </a:p>
          <a:p>
            <a:endParaRPr lang="de-DE" sz="1400" dirty="0" smtClean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Wachstum 2023-202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29" name="TextBox 114"/>
          <p:cNvSpPr txBox="1"/>
          <p:nvPr/>
        </p:nvSpPr>
        <p:spPr>
          <a:xfrm>
            <a:off x="4413928" y="7365765"/>
            <a:ext cx="2444072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AT" sz="1800" dirty="0" smtClean="0">
                <a:solidFill>
                  <a:schemeClr val="bg1"/>
                </a:solidFill>
              </a:rPr>
              <a:t>Externe</a:t>
            </a:r>
            <a:endParaRPr lang="en-US" sz="18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Wachstum 2023-2024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2036506" y="5569125"/>
            <a:ext cx="2784988" cy="278959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119" name="Chart 91"/>
          <p:cNvGraphicFramePr/>
          <p:nvPr>
            <p:extLst>
              <p:ext uri="{D42A27DB-BD31-4B8C-83A1-F6EECF244321}">
                <p14:modId xmlns:p14="http://schemas.microsoft.com/office/powerpoint/2010/main" val="740850231"/>
              </p:ext>
            </p:extLst>
          </p:nvPr>
        </p:nvGraphicFramePr>
        <p:xfrm>
          <a:off x="1266564" y="5550145"/>
          <a:ext cx="4284551" cy="3527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</p:spTree>
    <p:extLst>
      <p:ext uri="{BB962C8B-B14F-4D97-AF65-F5344CB8AC3E}">
        <p14:creationId xmlns:p14="http://schemas.microsoft.com/office/powerpoint/2010/main" val="411477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heme/theme1.xml><?xml version="1.0" encoding="utf-8"?>
<a:theme xmlns:a="http://schemas.openxmlformats.org/drawingml/2006/main" name="blan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Futura"/>
        <a:ea typeface=""/>
        <a:cs typeface=""/>
      </a:majorFont>
      <a:minorFont>
        <a:latin typeface="Futur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A4-Papier (210x297 mm)</PresentationFormat>
  <Paragraphs>17</Paragraphs>
  <Slides>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2" baseType="lpstr">
      <vt:lpstr>blank</vt:lpstr>
      <vt:lpstr>Outsourcing lässt externe Facility Services steig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nterconnection - Ernst Rumpeltes</dc:creator>
  <cp:lastModifiedBy>Interconnection - Johannes Lözelt</cp:lastModifiedBy>
  <cp:revision>150</cp:revision>
  <dcterms:created xsi:type="dcterms:W3CDTF">2018-11-16T13:54:58Z</dcterms:created>
  <dcterms:modified xsi:type="dcterms:W3CDTF">2024-06-21T14:36:43Z</dcterms:modified>
</cp:coreProperties>
</file>